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</p:sldMasterIdLst>
  <p:notesMasterIdLst>
    <p:notesMasterId r:id="rId18"/>
  </p:notesMasterIdLst>
  <p:handoutMasterIdLst>
    <p:handoutMasterId r:id="rId19"/>
  </p:handoutMasterIdLst>
  <p:sldIdLst>
    <p:sldId id="259" r:id="rId3"/>
    <p:sldId id="363" r:id="rId4"/>
    <p:sldId id="388" r:id="rId5"/>
    <p:sldId id="389" r:id="rId6"/>
    <p:sldId id="390" r:id="rId7"/>
    <p:sldId id="391" r:id="rId8"/>
    <p:sldId id="393" r:id="rId9"/>
    <p:sldId id="394" r:id="rId10"/>
    <p:sldId id="395" r:id="rId11"/>
    <p:sldId id="396" r:id="rId12"/>
    <p:sldId id="397" r:id="rId13"/>
    <p:sldId id="398" r:id="rId14"/>
    <p:sldId id="399" r:id="rId15"/>
    <p:sldId id="392" r:id="rId16"/>
    <p:sldId id="273" r:id="rId17"/>
  </p:sldIdLst>
  <p:sldSz cx="9144000" cy="6858000" type="screen4x3"/>
  <p:notesSz cx="7010400" cy="92964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herina Hrzic Miranda" initials="KHM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990033"/>
    <a:srgbClr val="FF9966"/>
    <a:srgbClr val="00FFFF"/>
    <a:srgbClr val="FF99CC"/>
    <a:srgbClr val="FFCC99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>
      <p:cViewPr varScale="1">
        <p:scale>
          <a:sx n="74" d="100"/>
          <a:sy n="74" d="100"/>
        </p:scale>
        <p:origin x="1470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5430"/>
    </p:cViewPr>
  </p:sorterViewPr>
  <p:notesViewPr>
    <p:cSldViewPr snapToGrid="0">
      <p:cViewPr varScale="1">
        <p:scale>
          <a:sx n="70" d="100"/>
          <a:sy n="70" d="100"/>
        </p:scale>
        <p:origin x="238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E53CC81-500C-4EE8-8F75-B7EC41D820F2}" type="datetimeFigureOut">
              <a:rPr lang="es-CL" smtClean="0"/>
              <a:t>11-06-2019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DC8BF83-427B-4C5B-9A7C-2ECFDFFA50DE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4642357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C6126C5-B6DA-47A8-9F07-06A98394C408}" type="datetimeFigureOut">
              <a:rPr lang="es-CL" smtClean="0"/>
              <a:t>11-06-2019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FBEDECD-9409-4312-A651-97BA881AA522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388325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1414463" y="1162050"/>
            <a:ext cx="4181475" cy="31369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65887">
              <a:defRPr/>
            </a:pPr>
            <a:fld id="{95A81DFA-E783-40CB-8634-884E55B23E34}" type="slidenum">
              <a:rPr lang="es-CL">
                <a:solidFill>
                  <a:prstClr val="black"/>
                </a:solidFill>
                <a:latin typeface="Calibri" panose="020F0502020204030204"/>
              </a:rPr>
              <a:pPr defTabSz="465887">
                <a:defRPr/>
              </a:pPr>
              <a:t>1</a:t>
            </a:fld>
            <a:endParaRPr lang="es-CL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38694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A81DFA-E783-40CB-8634-884E55B23E34}" type="slidenum">
              <a:rPr lang="es-CL" smtClean="0"/>
              <a:t>1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2287299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0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6BE9BA05-0B29-4EDC-AC41-3BEB59306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356713" y="22406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Calibri" panose="020F0502020204030204" pitchFamily="34" charset="0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6605274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1482155" y="1990667"/>
            <a:ext cx="4389768" cy="1661993"/>
          </a:xfrm>
        </p:spPr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6349614B-6845-432B-868D-C0B9DB33E0EF}" type="datetimeFigureOut">
              <a:rPr lang="es-CL" smtClean="0"/>
              <a:pPr/>
              <a:t>11-06-2019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428386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41898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file:///\\localhost\Users\CDEB\Pictures\3.png" TargetMode="Externa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file:///\\localhost\Users\CDEB\Pictures\1.png" TargetMode="Externa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6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CL" noProof="0" dirty="0" err="1"/>
              <a:t>Click</a:t>
            </a:r>
            <a:r>
              <a:rPr lang="es-CL" noProof="0" dirty="0"/>
              <a:t> to </a:t>
            </a:r>
            <a:r>
              <a:rPr lang="es-CL" noProof="0" dirty="0" err="1"/>
              <a:t>edit</a:t>
            </a:r>
            <a:r>
              <a:rPr lang="es-CL" noProof="0" dirty="0"/>
              <a:t> Master </a:t>
            </a:r>
            <a:r>
              <a:rPr lang="es-CL" noProof="0" dirty="0" err="1"/>
              <a:t>text</a:t>
            </a:r>
            <a:r>
              <a:rPr lang="es-CL" noProof="0" dirty="0"/>
              <a:t> </a:t>
            </a:r>
            <a:r>
              <a:rPr lang="es-CL" noProof="0" dirty="0" err="1"/>
              <a:t>styles</a:t>
            </a:r>
            <a:endParaRPr lang="es-CL" noProof="0" dirty="0"/>
          </a:p>
          <a:p>
            <a:pPr lvl="1"/>
            <a:r>
              <a:rPr lang="es-CL" noProof="0" dirty="0" err="1"/>
              <a:t>Second</a:t>
            </a:r>
            <a:r>
              <a:rPr lang="es-CL" noProof="0" dirty="0"/>
              <a:t> </a:t>
            </a:r>
            <a:r>
              <a:rPr lang="es-CL" noProof="0" dirty="0" err="1"/>
              <a:t>level</a:t>
            </a:r>
            <a:endParaRPr lang="es-CL" noProof="0" dirty="0"/>
          </a:p>
          <a:p>
            <a:pPr lvl="2"/>
            <a:r>
              <a:rPr lang="es-CL" noProof="0" dirty="0" err="1"/>
              <a:t>Third</a:t>
            </a:r>
            <a:r>
              <a:rPr lang="es-CL" noProof="0" dirty="0"/>
              <a:t> </a:t>
            </a:r>
            <a:r>
              <a:rPr lang="es-CL" noProof="0" dirty="0" err="1"/>
              <a:t>level</a:t>
            </a:r>
            <a:endParaRPr lang="es-CL" noProof="0" dirty="0"/>
          </a:p>
          <a:p>
            <a:pPr lvl="3"/>
            <a:r>
              <a:rPr lang="es-CL" noProof="0" dirty="0" err="1"/>
              <a:t>Fourth</a:t>
            </a:r>
            <a:r>
              <a:rPr lang="es-CL" noProof="0" dirty="0"/>
              <a:t> </a:t>
            </a:r>
            <a:r>
              <a:rPr lang="es-CL" noProof="0" dirty="0" err="1"/>
              <a:t>level</a:t>
            </a:r>
            <a:endParaRPr lang="es-CL" noProof="0" dirty="0"/>
          </a:p>
          <a:p>
            <a:pPr lvl="4"/>
            <a:r>
              <a:rPr lang="es-CL" noProof="0" dirty="0" err="1"/>
              <a:t>Fifth</a:t>
            </a:r>
            <a:r>
              <a:rPr lang="es-CL" noProof="0" dirty="0"/>
              <a:t> </a:t>
            </a:r>
            <a:r>
              <a:rPr lang="es-CL" noProof="0" dirty="0" err="1"/>
              <a:t>le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545248" y="223342"/>
            <a:ext cx="726786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CL" noProof="0" dirty="0" err="1"/>
              <a:t>Click</a:t>
            </a:r>
            <a:r>
              <a:rPr lang="es-CL" noProof="0" dirty="0"/>
              <a:t> to </a:t>
            </a:r>
            <a:r>
              <a:rPr lang="es-CL" noProof="0" dirty="0" err="1"/>
              <a:t>edit</a:t>
            </a:r>
            <a:r>
              <a:rPr lang="es-CL" noProof="0" dirty="0"/>
              <a:t> Master </a:t>
            </a:r>
            <a:r>
              <a:rPr lang="es-CL" noProof="0" dirty="0" err="1"/>
              <a:t>title</a:t>
            </a:r>
            <a:r>
              <a:rPr lang="es-CL" noProof="0" dirty="0"/>
              <a:t> </a:t>
            </a:r>
            <a:r>
              <a:rPr lang="es-CL" noProof="0" dirty="0" err="1"/>
              <a:t>style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8794113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90" y="6503346"/>
            <a:ext cx="7692622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19"/>
            <a:ext cx="7614176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9164899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73492" y="6609103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4621" y="-15570"/>
            <a:ext cx="959380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876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Calibri" panose="020F0502020204030204" pitchFamily="34" charset="0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00" baseline="0">
          <a:ln>
            <a:noFill/>
          </a:ln>
          <a:solidFill>
            <a:srgbClr val="000000"/>
          </a:solidFill>
          <a:effectLst/>
          <a:latin typeface="Calibri" panose="020F0502020204030204" pitchFamily="34" charset="0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8F91D8EE-5A2D-41F4-8A78-6F1488BD9FC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3401" y="3333750"/>
            <a:ext cx="1033463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C513FA5B-2768-4084-B936-441E2F2269C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6864" y="3333750"/>
            <a:ext cx="1481137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:a16="http://schemas.microsoft.com/office/drawing/2014/main" xmlns="" id="{6CCE0E19-B09D-462B-ADFE-C0E5B65C25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1" y="3452815"/>
            <a:ext cx="8032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49F52C9C-D0A2-48FF-B7A4-D3B1DAA294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533401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F3781D71-AC81-4E40-90B9-C994E35E6B1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566864" y="0"/>
            <a:ext cx="1481137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:a16="http://schemas.microsoft.com/office/drawing/2014/main" xmlns="" id="{33DC4EEB-2BED-4E79-823B-1326D13B4D1F}"/>
              </a:ext>
            </a:extLst>
          </p:cNvPr>
          <p:cNvPicPr>
            <a:picLocks noChangeAspect="1"/>
          </p:cNvPicPr>
          <p:nvPr userDrawn="1"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3430590"/>
            <a:ext cx="13843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:a16="http://schemas.microsoft.com/office/drawing/2014/main" xmlns="" id="{D1395D68-2C6D-41B4-AB39-ACFB6011738F}"/>
              </a:ext>
            </a:extLst>
          </p:cNvPr>
          <p:cNvPicPr>
            <a:picLocks noChangeAspect="1"/>
          </p:cNvPicPr>
          <p:nvPr userDrawn="1"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864" y="6400800"/>
            <a:ext cx="2071687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000724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xmlns="" id="{708AED80-CD44-4B7D-9360-C1519D3DB299}"/>
              </a:ext>
            </a:extLst>
          </p:cNvPr>
          <p:cNvSpPr txBox="1">
            <a:spLocks/>
          </p:cNvSpPr>
          <p:nvPr/>
        </p:nvSpPr>
        <p:spPr bwMode="auto">
          <a:xfrm>
            <a:off x="457200" y="1920576"/>
            <a:ext cx="8197702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9pPr>
          </a:lstStyle>
          <a:p>
            <a:pPr algn="just"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CL" altLang="en-US" sz="2800" b="1" dirty="0" smtClean="0">
                <a:solidFill>
                  <a:srgbClr val="FFFFFF"/>
                </a:solidFill>
                <a:latin typeface="+mj-lt"/>
                <a:sym typeface="Verdana Bold" charset="0"/>
              </a:rPr>
              <a:t>Reconocimiento y protección de los derechos de las personas con enfermedades terminales y el buen morir: “Proyecto de Ley de Cuidados Paliativos y Buen Morir”</a:t>
            </a:r>
            <a:endParaRPr lang="es-CL" altLang="en-US" sz="2800" b="1" dirty="0">
              <a:solidFill>
                <a:srgbClr val="FFFFFF"/>
              </a:solidFill>
              <a:latin typeface="+mj-lt"/>
              <a:sym typeface="Verdana Bold" charset="0"/>
            </a:endParaRPr>
          </a:p>
        </p:txBody>
      </p:sp>
      <p:sp>
        <p:nvSpPr>
          <p:cNvPr id="17411" name="Subtitle 2">
            <a:extLst>
              <a:ext uri="{FF2B5EF4-FFF2-40B4-BE49-F238E27FC236}">
                <a16:creationId xmlns:a16="http://schemas.microsoft.com/office/drawing/2014/main" xmlns="" id="{88F835D9-4277-48A6-8708-E05534943F63}"/>
              </a:ext>
            </a:extLst>
          </p:cNvPr>
          <p:cNvSpPr txBox="1">
            <a:spLocks/>
          </p:cNvSpPr>
          <p:nvPr/>
        </p:nvSpPr>
        <p:spPr bwMode="auto">
          <a:xfrm>
            <a:off x="3078089" y="5517845"/>
            <a:ext cx="5629349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9pPr>
          </a:lstStyle>
          <a:p>
            <a:pPr defTabSz="457200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endParaRPr lang="es-CL" altLang="en-US" sz="1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  <a:p>
            <a:pPr defTabSz="457200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r>
              <a:rPr lang="es-CL" altLang="en-US" sz="1600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Subsecretaría </a:t>
            </a:r>
            <a:r>
              <a:rPr lang="es-CL" altLang="en-US" sz="1600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Verdana" panose="020B0604030504040204" pitchFamily="34" charset="0"/>
              </a:rPr>
              <a:t>de Salud Pública. Ministerio de Salud.</a:t>
            </a:r>
            <a:endParaRPr lang="es-CL" altLang="en-US" sz="16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41401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276999"/>
          </a:xfrm>
        </p:spPr>
        <p:txBody>
          <a:bodyPr/>
          <a:lstStyle/>
          <a:p>
            <a:r>
              <a:rPr lang="es-ES_tradnl" sz="1800" dirty="0"/>
              <a:t>Cuidados paliativos y Buen Morir: </a:t>
            </a:r>
            <a:r>
              <a:rPr lang="es-CL" sz="1600" b="0" dirty="0" smtClean="0"/>
              <a:t>Articulado </a:t>
            </a:r>
            <a:r>
              <a:rPr lang="es-CL" sz="1600" b="0" dirty="0"/>
              <a:t>del proyecto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19100" y="1158241"/>
            <a:ext cx="8145780" cy="4678204"/>
          </a:xfrm>
        </p:spPr>
        <p:txBody>
          <a:bodyPr/>
          <a:lstStyle/>
          <a:p>
            <a:pPr algn="just"/>
            <a:r>
              <a:rPr lang="es-CL" sz="1600" dirty="0"/>
              <a:t>TÍTULO I - DISPOSICIONES GENERALES</a:t>
            </a:r>
          </a:p>
          <a:p>
            <a:pPr algn="just"/>
            <a:r>
              <a:rPr lang="es-CL" dirty="0"/>
              <a:t> </a:t>
            </a:r>
          </a:p>
          <a:p>
            <a:pPr algn="just"/>
            <a:r>
              <a:rPr lang="es-CL" sz="1400" dirty="0"/>
              <a:t>ARTICULO PRIMERO.- Esta </a:t>
            </a:r>
            <a:r>
              <a:rPr lang="es-CL" sz="1400" dirty="0" smtClean="0"/>
              <a:t>Ley </a:t>
            </a:r>
            <a:r>
              <a:rPr lang="es-CL" sz="1400" dirty="0"/>
              <a:t>tiene por finalidad </a:t>
            </a:r>
            <a:r>
              <a:rPr lang="es-CL" sz="1400" i="1" dirty="0"/>
              <a:t>reconocer, proteger y regular el derecho de las personas en situación de enfermedad terminal a una adecuada atención de salud</a:t>
            </a:r>
            <a:r>
              <a:rPr lang="es-CL" sz="1400" dirty="0"/>
              <a:t>. Dicha atención consistirá en el </a:t>
            </a:r>
            <a:r>
              <a:rPr lang="es-CL" sz="1400" i="1" dirty="0"/>
              <a:t>cuidado integral de la persona</a:t>
            </a:r>
            <a:r>
              <a:rPr lang="es-CL" sz="1400" dirty="0"/>
              <a:t>, orientado a aliviar, dentro de lo posible, padecimientos asociados a una enfermedad terminal.</a:t>
            </a:r>
          </a:p>
          <a:p>
            <a:pPr algn="just"/>
            <a:r>
              <a:rPr lang="es-CL" sz="1400" dirty="0"/>
              <a:t>ARTÍCULO SEGUNDO.- Solo para los efectos de esta </a:t>
            </a:r>
            <a:r>
              <a:rPr lang="es-CL" sz="1400" dirty="0" smtClean="0"/>
              <a:t>Ley</a:t>
            </a:r>
            <a:r>
              <a:rPr lang="es-CL" sz="1400" dirty="0"/>
              <a:t>, se entenderá por enfermedad terminal aquella condición en la que una persona presenta una </a:t>
            </a:r>
            <a:r>
              <a:rPr lang="es-CL" sz="1400" i="1" dirty="0"/>
              <a:t>enfermedad incurable, irreversible y progresiva, sin posibilidades de respuesta a los tratamientos curativos y con un pronóstico de vida limitado</a:t>
            </a:r>
            <a:r>
              <a:rPr lang="es-CL" sz="1400" dirty="0"/>
              <a:t>. El carácter de terminal de la enfermedad deberá ser siempre diagnosticado por un médico-cirujano</a:t>
            </a:r>
            <a:r>
              <a:rPr lang="es-CL" sz="1400" dirty="0" smtClean="0"/>
              <a:t>.</a:t>
            </a:r>
          </a:p>
          <a:p>
            <a:pPr algn="just"/>
            <a:endParaRPr lang="es-CL" sz="1400" dirty="0"/>
          </a:p>
          <a:p>
            <a:pPr algn="just"/>
            <a:r>
              <a:rPr lang="es-CL" sz="1400" dirty="0"/>
              <a:t>Los </a:t>
            </a:r>
            <a:r>
              <a:rPr lang="es-CL" sz="1400" dirty="0" smtClean="0"/>
              <a:t>Cuidados Paliativos </a:t>
            </a:r>
            <a:r>
              <a:rPr lang="es-CL" sz="1400" dirty="0"/>
              <a:t>tienen como objetivo </a:t>
            </a:r>
            <a:r>
              <a:rPr lang="es-CL" sz="1400" i="1" dirty="0"/>
              <a:t>mejorar la calidad de vida de las personas cuando afrontan padecimientos relacionados con una enfermedad terminal</a:t>
            </a:r>
            <a:r>
              <a:rPr lang="es-CL" sz="1400" dirty="0"/>
              <a:t>, no pudiendo en caso alguno acelerar la muerte o prolongar artificialmente la vida, previniendo y aliviando los padecimientos de la misma a través de la identificación temprana, adecuada evaluación y </a:t>
            </a:r>
            <a:r>
              <a:rPr lang="es-CL" sz="1400" dirty="0" smtClean="0"/>
              <a:t>tratamiento </a:t>
            </a:r>
            <a:r>
              <a:rPr lang="es-CL" sz="1400" dirty="0"/>
              <a:t>del dolor y otros problemas </a:t>
            </a:r>
            <a:r>
              <a:rPr lang="es-CL" sz="1400" dirty="0" smtClean="0"/>
              <a:t>de </a:t>
            </a:r>
            <a:r>
              <a:rPr lang="es-CL" sz="1400" dirty="0"/>
              <a:t>orden físico y mental. </a:t>
            </a:r>
            <a:endParaRPr lang="es-CL" sz="1400" dirty="0" smtClean="0"/>
          </a:p>
          <a:p>
            <a:pPr algn="just"/>
            <a:endParaRPr lang="es-CL" sz="1400" dirty="0"/>
          </a:p>
          <a:p>
            <a:pPr algn="just"/>
            <a:r>
              <a:rPr lang="es-CL" sz="1400" dirty="0"/>
              <a:t>Además, </a:t>
            </a:r>
            <a:r>
              <a:rPr lang="es-CL" sz="1400" i="1" dirty="0"/>
              <a:t>en cuanto a su apoyo psicológico los </a:t>
            </a:r>
            <a:r>
              <a:rPr lang="es-CL" sz="1400" i="1" dirty="0" smtClean="0"/>
              <a:t>Cuidados Paliativos </a:t>
            </a:r>
            <a:r>
              <a:rPr lang="es-CL" sz="1400" i="1" dirty="0"/>
              <a:t>también consideran a los familiares</a:t>
            </a:r>
            <a:r>
              <a:rPr lang="es-CL" sz="1400" dirty="0"/>
              <a:t> hasta el primer grado de </a:t>
            </a:r>
            <a:r>
              <a:rPr lang="es-CL" sz="1400" dirty="0" smtClean="0"/>
              <a:t>consanguinidad </a:t>
            </a:r>
            <a:r>
              <a:rPr lang="es-CL" sz="1400" i="1" dirty="0"/>
              <a:t>y a los cuidadores no remunerados</a:t>
            </a:r>
            <a:r>
              <a:rPr lang="es-CL" sz="1400" dirty="0"/>
              <a:t>, independiente de si estos son o no familiares.</a:t>
            </a:r>
          </a:p>
          <a:p>
            <a:pPr algn="just"/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10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787047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307777"/>
          </a:xfrm>
        </p:spPr>
        <p:txBody>
          <a:bodyPr/>
          <a:lstStyle/>
          <a:p>
            <a:r>
              <a:rPr lang="es-ES_tradnl" sz="2000" dirty="0"/>
              <a:t>Cuidados paliativos y Buen Morir: </a:t>
            </a:r>
            <a:r>
              <a:rPr lang="es-CL" sz="1800" b="0" dirty="0"/>
              <a:t>Articulado del proyecto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70560" y="1562100"/>
            <a:ext cx="8122920" cy="4154984"/>
          </a:xfrm>
        </p:spPr>
        <p:txBody>
          <a:bodyPr/>
          <a:lstStyle/>
          <a:p>
            <a:r>
              <a:rPr lang="es-CL" sz="1600" dirty="0"/>
              <a:t>TÍTULO II - DE LOS DERECHOS DE LAS PERSONAS EN SITUACIÓN DE ENFERMEDAD TERMINAL</a:t>
            </a:r>
          </a:p>
          <a:p>
            <a:r>
              <a:rPr lang="es-CL" sz="1600" dirty="0"/>
              <a:t> </a:t>
            </a:r>
          </a:p>
          <a:p>
            <a:r>
              <a:rPr lang="es-CL" sz="1400" dirty="0"/>
              <a:t>ARTÍCULO TERCERO.- Se reconoce que toda persona en situación de enfermedad terminal tiene derecho a</a:t>
            </a:r>
            <a:r>
              <a:rPr lang="es-CL" sz="1400" dirty="0" smtClean="0"/>
              <a:t>:</a:t>
            </a:r>
          </a:p>
          <a:p>
            <a:endParaRPr lang="es-CL" sz="1400" dirty="0"/>
          </a:p>
          <a:p>
            <a:r>
              <a:rPr lang="es-CL" sz="1400" i="1" dirty="0" smtClean="0"/>
              <a:t>1.- Ser </a:t>
            </a:r>
            <a:r>
              <a:rPr lang="es-CL" sz="1400" i="1" dirty="0"/>
              <a:t>informado</a:t>
            </a:r>
            <a:r>
              <a:rPr lang="es-CL" sz="1400" dirty="0"/>
              <a:t>, en forma oportuna y comprensible de su estado de salud, el manejo de síntomas, formas de autocuidado y de los posibles tratamientos a realizarse</a:t>
            </a:r>
            <a:r>
              <a:rPr lang="es-CL" sz="1400" dirty="0" smtClean="0"/>
              <a:t>.</a:t>
            </a:r>
          </a:p>
          <a:p>
            <a:endParaRPr lang="es-ES_tradnl" sz="1400" dirty="0" smtClean="0"/>
          </a:p>
          <a:p>
            <a:r>
              <a:rPr lang="es-CL" sz="1400" dirty="0" smtClean="0"/>
              <a:t>2.- </a:t>
            </a:r>
            <a:r>
              <a:rPr lang="es-CL" sz="1400" i="1" dirty="0" smtClean="0"/>
              <a:t>Cuidados </a:t>
            </a:r>
            <a:r>
              <a:rPr lang="es-CL" sz="1400" i="1" dirty="0"/>
              <a:t>paliativos</a:t>
            </a:r>
            <a:r>
              <a:rPr lang="es-CL" sz="1400" dirty="0"/>
              <a:t>, cuando corresponda de conformidad a la ley N° 19.966, que establece un régimen de garantías en salud, y sus decretos, entregados por profesionales competentes</a:t>
            </a:r>
            <a:r>
              <a:rPr lang="es-CL" sz="1400" dirty="0" smtClean="0"/>
              <a:t>.</a:t>
            </a:r>
          </a:p>
          <a:p>
            <a:endParaRPr lang="es-CL" sz="1400" dirty="0"/>
          </a:p>
          <a:p>
            <a:r>
              <a:rPr lang="es-CL" sz="1400" dirty="0"/>
              <a:t>3</a:t>
            </a:r>
            <a:r>
              <a:rPr lang="es-CL" sz="1400" dirty="0" smtClean="0"/>
              <a:t>.- </a:t>
            </a:r>
            <a:r>
              <a:rPr lang="es-CL" sz="1400" i="1" dirty="0" smtClean="0"/>
              <a:t>A </a:t>
            </a:r>
            <a:r>
              <a:rPr lang="es-CL" sz="1400" i="1" dirty="0"/>
              <a:t>ser acompañado por sus familiares</a:t>
            </a:r>
            <a:r>
              <a:rPr lang="es-CL" sz="1400" dirty="0"/>
              <a:t> o por quien la persona en situación de enfermedad terminal designe, en la forma que determine el respectivo reglamento</a:t>
            </a:r>
            <a:r>
              <a:rPr lang="es-CL" sz="1400" dirty="0" smtClean="0"/>
              <a:t>.</a:t>
            </a:r>
          </a:p>
          <a:p>
            <a:endParaRPr lang="es-CL" sz="1400" dirty="0"/>
          </a:p>
          <a:p>
            <a:r>
              <a:rPr lang="es-CL" sz="1400" dirty="0"/>
              <a:t>4</a:t>
            </a:r>
            <a:r>
              <a:rPr lang="es-CL" sz="1400" dirty="0" smtClean="0"/>
              <a:t>.- En </a:t>
            </a:r>
            <a:r>
              <a:rPr lang="es-CL" sz="1400" dirty="0"/>
              <a:t>general, a todos aquellos derechos establecidos por la ley N° 20.584, que regula los derechos y deberes que tienen las personas en relación con acciones vinculadas a su atención en salud, y en particular, </a:t>
            </a:r>
            <a:r>
              <a:rPr lang="es-CL" sz="1400" i="1" dirty="0"/>
              <a:t>reforzar la autonomía de los pacientes en cuanto a la claridad en el rechazo de tratamientos y voluntades </a:t>
            </a:r>
            <a:r>
              <a:rPr lang="es-CL" sz="1400" i="1" dirty="0" smtClean="0"/>
              <a:t>anticipadas</a:t>
            </a:r>
            <a:r>
              <a:rPr lang="es-CL" sz="1400" dirty="0" smtClean="0"/>
              <a:t>. El </a:t>
            </a:r>
            <a:r>
              <a:rPr lang="es-CL" sz="1400" dirty="0"/>
              <a:t>listado de derechos contemplado en este artículo debe ser publicado por todos los prestadores de </a:t>
            </a:r>
            <a:r>
              <a:rPr lang="es-CL" sz="1400" dirty="0" smtClean="0"/>
              <a:t>salud, conforme </a:t>
            </a:r>
            <a:r>
              <a:rPr lang="es-CL" sz="1400" dirty="0"/>
              <a:t>a las especificaciones de un reglamento dictado a través del Ministerio de Salud.</a:t>
            </a:r>
          </a:p>
          <a:p>
            <a:endParaRPr lang="es-CL" sz="14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11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07347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307777"/>
          </a:xfrm>
        </p:spPr>
        <p:txBody>
          <a:bodyPr/>
          <a:lstStyle/>
          <a:p>
            <a:r>
              <a:rPr lang="es-ES_tradnl" sz="2000" dirty="0"/>
              <a:t>Cuidados paliativos y Buen Morir: </a:t>
            </a:r>
            <a:r>
              <a:rPr lang="es-CL" sz="1800" b="0" dirty="0"/>
              <a:t>Articulado del proyecto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70560" y="1363979"/>
            <a:ext cx="7825739" cy="2554545"/>
          </a:xfrm>
        </p:spPr>
        <p:txBody>
          <a:bodyPr/>
          <a:lstStyle/>
          <a:p>
            <a:r>
              <a:rPr lang="es-CL" sz="1600" dirty="0"/>
              <a:t>TÍTULO III - DE LA TUTELA DE LA DIGNIDAD DE LAS PERSONAS EN SITUACIÓN DE ENFERMEDAD TERMINAL</a:t>
            </a:r>
          </a:p>
          <a:p>
            <a:r>
              <a:rPr lang="es-CL" dirty="0"/>
              <a:t> </a:t>
            </a:r>
          </a:p>
          <a:p>
            <a:r>
              <a:rPr lang="es-CL" sz="1400" dirty="0"/>
              <a:t>ARTÍCULO CUARTO.- La protección de la </a:t>
            </a:r>
            <a:r>
              <a:rPr lang="es-CL" sz="1400" i="1" dirty="0"/>
              <a:t>dignidad y autonomía de las personas</a:t>
            </a:r>
            <a:r>
              <a:rPr lang="es-CL" sz="1400" dirty="0"/>
              <a:t> en situación de enfermedad terminal </a:t>
            </a:r>
            <a:r>
              <a:rPr lang="es-CL" sz="1400" i="1" dirty="0"/>
              <a:t>supone siempre respetar su vida y considerar a la muerte como un proceso natural</a:t>
            </a:r>
            <a:r>
              <a:rPr lang="es-CL" sz="1400" dirty="0"/>
              <a:t>. </a:t>
            </a:r>
            <a:endParaRPr lang="es-CL" sz="1400" dirty="0" smtClean="0"/>
          </a:p>
          <a:p>
            <a:endParaRPr lang="es-CL" sz="1400" dirty="0"/>
          </a:p>
          <a:p>
            <a:r>
              <a:rPr lang="es-CL" sz="1400" dirty="0"/>
              <a:t>En </a:t>
            </a:r>
            <a:r>
              <a:rPr lang="es-CL" sz="1400" i="1" dirty="0"/>
              <a:t>ningún caso</a:t>
            </a:r>
            <a:r>
              <a:rPr lang="es-CL" sz="1400" dirty="0"/>
              <a:t> los tratamientos administrados en el contexto de los </a:t>
            </a:r>
            <a:r>
              <a:rPr lang="es-CL" sz="1400" dirty="0" smtClean="0"/>
              <a:t>Cuidados Paliativos </a:t>
            </a:r>
            <a:r>
              <a:rPr lang="es-CL" sz="1400" dirty="0"/>
              <a:t>o el rechazo a dichos tratamientos podrán tener por objeto </a:t>
            </a:r>
            <a:r>
              <a:rPr lang="es-CL" sz="1400" i="1" dirty="0"/>
              <a:t>la aceleración artificial de la muerte, la realización de prácticas eutanásicas o el ensañamiento terapéutico</a:t>
            </a:r>
            <a:r>
              <a:rPr lang="es-CL" sz="1400" dirty="0"/>
              <a:t>, en los términos y con las limitaciones de los artículos 14, 15 y </a:t>
            </a:r>
            <a:r>
              <a:rPr lang="es-CL" sz="1400" dirty="0" smtClean="0"/>
              <a:t>16  </a:t>
            </a:r>
            <a:r>
              <a:rPr lang="es-CL" sz="1400" dirty="0"/>
              <a:t>de la </a:t>
            </a:r>
            <a:r>
              <a:rPr lang="es-CL" sz="1400" dirty="0" smtClean="0"/>
              <a:t>Ley </a:t>
            </a:r>
            <a:r>
              <a:rPr lang="es-CL" sz="1400" dirty="0"/>
              <a:t>N° 20.584.</a:t>
            </a:r>
          </a:p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1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27648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307777"/>
          </a:xfrm>
        </p:spPr>
        <p:txBody>
          <a:bodyPr/>
          <a:lstStyle/>
          <a:p>
            <a:r>
              <a:rPr lang="es-ES_tradnl" sz="2000" dirty="0"/>
              <a:t>Cuidados paliativos y Buen Morir: </a:t>
            </a:r>
            <a:r>
              <a:rPr lang="es-CL" sz="1800" b="0" dirty="0"/>
              <a:t>Articulado del proyecto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556260" y="1264921"/>
            <a:ext cx="8267700" cy="4708981"/>
          </a:xfrm>
        </p:spPr>
        <p:txBody>
          <a:bodyPr/>
          <a:lstStyle/>
          <a:p>
            <a:r>
              <a:rPr lang="es-CL" sz="1600" dirty="0"/>
              <a:t>TÍTULO IV - DE LA CALIDAD DE VIDA Y LOS CUIDADOS </a:t>
            </a:r>
            <a:r>
              <a:rPr lang="es-CL" sz="1600" dirty="0" smtClean="0"/>
              <a:t>PALIATIVOS</a:t>
            </a:r>
            <a:endParaRPr lang="es-CL" sz="1600" dirty="0"/>
          </a:p>
          <a:p>
            <a:r>
              <a:rPr lang="es-CL" dirty="0"/>
              <a:t> </a:t>
            </a:r>
          </a:p>
          <a:p>
            <a:r>
              <a:rPr lang="es-CL" sz="1600" dirty="0"/>
              <a:t>ARTÍCULO QUINTO.- La autoridad sanitaria deberá adoptar, en el marco de los recursos disponibles para dichos efectos en la Ley de Presupuestos del Sector Público de cada año, las </a:t>
            </a:r>
            <a:r>
              <a:rPr lang="es-CL" sz="1600" dirty="0" smtClean="0"/>
              <a:t>medidas tendientes </a:t>
            </a:r>
            <a:r>
              <a:rPr lang="es-CL" sz="1600" dirty="0"/>
              <a:t>a promover el acceso de toda persona en situación de enfermedad terminal, en conformidad con lo establecido en el artículo segundo de la presente ley, a </a:t>
            </a:r>
            <a:r>
              <a:rPr lang="es-CL" sz="1600" dirty="0" smtClean="0"/>
              <a:t>Cuidados Paliativos</a:t>
            </a:r>
            <a:r>
              <a:rPr lang="es-CL" sz="1600" dirty="0"/>
              <a:t>, en todos los niveles de atención en salud</a:t>
            </a:r>
            <a:r>
              <a:rPr lang="es-CL" sz="1600" dirty="0" smtClean="0"/>
              <a:t>.</a:t>
            </a:r>
          </a:p>
          <a:p>
            <a:r>
              <a:rPr lang="es-CL" sz="1600" dirty="0" smtClean="0"/>
              <a:t> </a:t>
            </a:r>
            <a:endParaRPr lang="es-CL" sz="1600" dirty="0"/>
          </a:p>
          <a:p>
            <a:r>
              <a:rPr lang="es-CL" sz="1600" dirty="0"/>
              <a:t>ARTÍCULO SEXTO.- Las personas en situación de enfermedad terminal que reciban </a:t>
            </a:r>
            <a:r>
              <a:rPr lang="es-CL" sz="1600" dirty="0" smtClean="0"/>
              <a:t>Cuidados Paliativos </a:t>
            </a:r>
            <a:r>
              <a:rPr lang="es-CL" sz="1600" dirty="0"/>
              <a:t>en </a:t>
            </a:r>
            <a:r>
              <a:rPr lang="es-CL" sz="1600" dirty="0" smtClean="0"/>
              <a:t>su domicilio, </a:t>
            </a:r>
            <a:r>
              <a:rPr lang="es-CL" sz="1600" dirty="0"/>
              <a:t>deberán contar con un registro clínico de atención domiciliaria, en el cual deberán constar siempre las características de los síntomas detectados y de su evolución, así como los tratamientos utilizados, las dosis administradas y los resultados conseguidos. Un reglamento dictado por el Ministerio de Salud establecerá las condiciones y requisitos que debe cumplir dicho registro clínico de atención domiciliaria, así como las personas obligadas a llevarlo</a:t>
            </a:r>
            <a:r>
              <a:rPr lang="es-CL" sz="1600" dirty="0" smtClean="0"/>
              <a:t>.</a:t>
            </a:r>
          </a:p>
          <a:p>
            <a:endParaRPr lang="es-CL" sz="1600" dirty="0"/>
          </a:p>
          <a:p>
            <a:r>
              <a:rPr lang="es-CL" sz="1600" dirty="0"/>
              <a:t>ARTÍCULO SÉPTIMO.- El Ministerio de Salud dictará los reglamentos que sean necesarios para regular los requisitos, condiciones y forma en que se proporcionarán los </a:t>
            </a:r>
            <a:r>
              <a:rPr lang="es-CL" sz="1600" dirty="0" smtClean="0"/>
              <a:t>Cuidados Paliativos</a:t>
            </a:r>
            <a:r>
              <a:rPr lang="es-CL" sz="1600" dirty="0"/>
              <a:t>, independiente del lugar donde se otorguen.</a:t>
            </a:r>
          </a:p>
          <a:p>
            <a:r>
              <a:rPr lang="es-CL" sz="1600" dirty="0"/>
              <a:t> 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1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451592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292388"/>
          </a:xfrm>
        </p:spPr>
        <p:txBody>
          <a:bodyPr/>
          <a:lstStyle/>
          <a:p>
            <a:r>
              <a:rPr lang="es-ES_tradnl" sz="1800" dirty="0"/>
              <a:t>Cuidados paliativos y Buen Morir: </a:t>
            </a:r>
            <a:r>
              <a:rPr lang="es-CL" b="0" dirty="0" smtClean="0"/>
              <a:t>Reflexión final</a:t>
            </a:r>
            <a:endParaRPr lang="es-CL" b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723900" y="1485901"/>
            <a:ext cx="7696199" cy="3323987"/>
          </a:xfrm>
        </p:spPr>
        <p:txBody>
          <a:bodyPr/>
          <a:lstStyle/>
          <a:p>
            <a:pPr algn="just"/>
            <a:r>
              <a:rPr lang="es-CL" dirty="0"/>
              <a:t>La muerte llegará en algún momento, debemos hablar de ella al interior de nuestras familias e ir declarando nuestros anhelos ante las posibilidades de atención médica en caso de una enfermedad terminal de pronóstico irreversible</a:t>
            </a:r>
            <a:r>
              <a:rPr lang="es-CL" dirty="0" smtClean="0"/>
              <a:t>.</a:t>
            </a:r>
          </a:p>
          <a:p>
            <a:pPr algn="just"/>
            <a:endParaRPr lang="es-CL" dirty="0"/>
          </a:p>
          <a:p>
            <a:pPr algn="just"/>
            <a:r>
              <a:rPr lang="es-CL" dirty="0" smtClean="0"/>
              <a:t>Queremos </a:t>
            </a:r>
            <a:r>
              <a:rPr lang="es-CL" dirty="0"/>
              <a:t>promover el Cuidado integral de la persona que está en proceso de morir o falleciendo, sin abandonarla ni dejarla en el desamparo, sino que al igual como cuidamos y protegemos el nacimiento de una vida, cuidar el cese de la misma con humanidad y prestando amorosamente todo el alivio posible. </a:t>
            </a:r>
            <a:endParaRPr lang="es-CL" dirty="0" smtClean="0"/>
          </a:p>
          <a:p>
            <a:pPr algn="just"/>
            <a:endParaRPr lang="es-CL" dirty="0"/>
          </a:p>
          <a:p>
            <a:pPr algn="just"/>
            <a:r>
              <a:rPr lang="es-CL" dirty="0"/>
              <a:t>Es lo que se denomina “Cuidados continuos”. </a:t>
            </a:r>
          </a:p>
          <a:p>
            <a:pPr algn="just"/>
            <a:r>
              <a:rPr lang="es-CL" dirty="0"/>
              <a:t> </a:t>
            </a:r>
          </a:p>
          <a:p>
            <a:pPr algn="just"/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1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8871769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7D2BA2D-5197-47D8-94EC-D7793B88DA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73492" y="6609101"/>
            <a:ext cx="2133600" cy="365125"/>
          </a:xfrm>
        </p:spPr>
        <p:txBody>
          <a:bodyPr/>
          <a:lstStyle/>
          <a:p>
            <a:fld id="{7536BA00-E649-495D-B82A-3219CB1D2429}" type="slidenum">
              <a:rPr lang="es-CL" smtClean="0"/>
              <a:pPr/>
              <a:t>15</a:t>
            </a:fld>
            <a:endParaRPr lang="es-CL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xmlns="" id="{95F67D38-2A5B-4DA7-BE2C-4A440FA072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86328" y="1235653"/>
            <a:ext cx="4219617" cy="830997"/>
          </a:xfrm>
        </p:spPr>
        <p:txBody>
          <a:bodyPr/>
          <a:lstStyle/>
          <a:p>
            <a:pPr algn="ctr"/>
            <a:r>
              <a:rPr lang="es-CL" sz="5400" dirty="0" smtClean="0"/>
              <a:t>GRACIAS</a:t>
            </a:r>
            <a:endParaRPr lang="es-CL" sz="5400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8620" y="3477673"/>
            <a:ext cx="4493141" cy="2188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5757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2</a:t>
            </a:fld>
            <a:endParaRPr lang="es-CL" dirty="0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261257" y="261814"/>
            <a:ext cx="7267862" cy="307777"/>
          </a:xfrm>
        </p:spPr>
        <p:txBody>
          <a:bodyPr/>
          <a:lstStyle/>
          <a:p>
            <a:r>
              <a:rPr lang="es-CL" sz="2000" dirty="0" smtClean="0"/>
              <a:t>Cuidados paliativos y Buen Morir: </a:t>
            </a:r>
            <a:r>
              <a:rPr lang="es-CL" sz="2000" b="0" dirty="0" smtClean="0"/>
              <a:t>Definición</a:t>
            </a:r>
            <a:r>
              <a:rPr lang="es-CL" sz="2000" dirty="0" smtClean="0"/>
              <a:t> </a:t>
            </a:r>
            <a:r>
              <a:rPr lang="es-CL" sz="2000" b="0" dirty="0" smtClean="0"/>
              <a:t>conceptual</a:t>
            </a:r>
            <a:endParaRPr lang="es-CL" sz="2000" b="0" dirty="0"/>
          </a:p>
        </p:txBody>
      </p:sp>
      <p:sp>
        <p:nvSpPr>
          <p:cNvPr id="8" name="Rectángulo 7"/>
          <p:cNvSpPr/>
          <p:nvPr/>
        </p:nvSpPr>
        <p:spPr>
          <a:xfrm>
            <a:off x="476716" y="1442459"/>
            <a:ext cx="783435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just" defTabSz="913526" fontAlgn="base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</a:pPr>
            <a:r>
              <a:rPr lang="es-ES_tradnl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La Organización </a:t>
            </a:r>
            <a:r>
              <a:rPr lang="es-ES_tradnl" sz="14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M</a:t>
            </a:r>
            <a:r>
              <a:rPr lang="es-ES_tradnl" sz="14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+mj-ea"/>
                <a:cs typeface="+mj-cs"/>
              </a:rPr>
              <a:t>undial de la Salud (OMS) define Cuidados Paliativos como:</a:t>
            </a:r>
          </a:p>
          <a:p>
            <a:pPr algn="just" defTabSz="913526" fontAlgn="base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</a:pPr>
            <a:endParaRPr lang="es-ES_tradnl" sz="14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  <a:p>
            <a:pPr algn="just" defTabSz="913526" fontAlgn="base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</a:pPr>
            <a:r>
              <a:rPr lang="es-ES" sz="1400" dirty="0" smtClean="0">
                <a:solidFill>
                  <a:schemeClr val="accent1">
                    <a:lumMod val="50000"/>
                  </a:schemeClr>
                </a:solidFill>
              </a:rPr>
              <a:t>“</a:t>
            </a:r>
            <a:r>
              <a:rPr lang="es-ES_tradnl" sz="1400" dirty="0">
                <a:solidFill>
                  <a:schemeClr val="accent1">
                    <a:lumMod val="50000"/>
                  </a:schemeClr>
                </a:solidFill>
              </a:rPr>
              <a:t>Los </a:t>
            </a:r>
            <a:r>
              <a:rPr lang="es-ES_tradnl" sz="1400" dirty="0" smtClean="0">
                <a:solidFill>
                  <a:schemeClr val="accent1">
                    <a:lumMod val="50000"/>
                  </a:schemeClr>
                </a:solidFill>
              </a:rPr>
              <a:t>Cuidados Paliativos </a:t>
            </a:r>
            <a:r>
              <a:rPr lang="es-ES_tradnl" sz="1400" dirty="0">
                <a:solidFill>
                  <a:schemeClr val="accent1">
                    <a:lumMod val="50000"/>
                  </a:schemeClr>
                </a:solidFill>
              </a:rPr>
              <a:t>constituyen un enfoque que mejora la calidad de vida de los pacientes y sus familias cuando se ven enfrentados con enfermedades </a:t>
            </a:r>
            <a:r>
              <a:rPr lang="es-ES_tradnl" sz="1400" dirty="0" smtClean="0">
                <a:solidFill>
                  <a:schemeClr val="accent1">
                    <a:lumMod val="50000"/>
                  </a:schemeClr>
                </a:solidFill>
              </a:rPr>
              <a:t>que </a:t>
            </a:r>
            <a:r>
              <a:rPr lang="es-ES_tradnl" sz="1400" dirty="0">
                <a:solidFill>
                  <a:schemeClr val="accent1">
                    <a:lumMod val="50000"/>
                  </a:schemeClr>
                </a:solidFill>
              </a:rPr>
              <a:t>amenazan la </a:t>
            </a:r>
            <a:r>
              <a:rPr lang="es-ES_tradnl" sz="1400" dirty="0" smtClean="0">
                <a:solidFill>
                  <a:schemeClr val="accent1">
                    <a:lumMod val="50000"/>
                  </a:schemeClr>
                </a:solidFill>
              </a:rPr>
              <a:t>vida, </a:t>
            </a:r>
            <a:r>
              <a:rPr lang="es-ES_tradnl" sz="1400" dirty="0">
                <a:solidFill>
                  <a:schemeClr val="accent1">
                    <a:lumMod val="50000"/>
                  </a:schemeClr>
                </a:solidFill>
              </a:rPr>
              <a:t>a través de la prevención y el alivio del sufrimiento mediante la identificación </a:t>
            </a:r>
            <a:r>
              <a:rPr lang="es-ES_tradnl" sz="1400" dirty="0" smtClean="0">
                <a:solidFill>
                  <a:schemeClr val="accent1">
                    <a:lumMod val="50000"/>
                  </a:schemeClr>
                </a:solidFill>
              </a:rPr>
              <a:t>temprana </a:t>
            </a:r>
            <a:r>
              <a:rPr lang="es-ES_tradnl" sz="1400" dirty="0">
                <a:solidFill>
                  <a:schemeClr val="accent1">
                    <a:lumMod val="50000"/>
                  </a:schemeClr>
                </a:solidFill>
              </a:rPr>
              <a:t>y la evaluación y tratamiento correctos del dolor y otros problemas de tipo físico, psicosocial o </a:t>
            </a:r>
            <a:r>
              <a:rPr lang="es-ES_tradnl" sz="1400" dirty="0" smtClean="0">
                <a:solidFill>
                  <a:schemeClr val="accent1">
                    <a:lumMod val="50000"/>
                  </a:schemeClr>
                </a:solidFill>
              </a:rPr>
              <a:t>espiritual</a:t>
            </a:r>
            <a:r>
              <a:rPr lang="es-ES" sz="1400" dirty="0" smtClean="0">
                <a:solidFill>
                  <a:schemeClr val="accent1">
                    <a:lumMod val="50000"/>
                  </a:schemeClr>
                </a:solidFill>
              </a:rPr>
              <a:t>”.</a:t>
            </a:r>
            <a:endParaRPr lang="es-CL" sz="14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177967" y="6272086"/>
            <a:ext cx="8595525" cy="39383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>
              <a:buNone/>
            </a:pPr>
            <a:r>
              <a:rPr lang="es-ES_tradnl" sz="800" dirty="0" smtClean="0">
                <a:solidFill>
                  <a:schemeClr val="accent1">
                    <a:lumMod val="50000"/>
                  </a:schemeClr>
                </a:solidFill>
              </a:rPr>
              <a:t> * </a:t>
            </a:r>
            <a:r>
              <a:rPr lang="en-US" sz="800" dirty="0" smtClean="0">
                <a:solidFill>
                  <a:schemeClr val="accent1">
                    <a:lumMod val="50000"/>
                  </a:schemeClr>
                </a:solidFill>
              </a:rPr>
              <a:t>Morin</a:t>
            </a:r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, L., </a:t>
            </a:r>
            <a:r>
              <a:rPr lang="en-US" sz="800" dirty="0" err="1">
                <a:solidFill>
                  <a:schemeClr val="accent1">
                    <a:lumMod val="50000"/>
                  </a:schemeClr>
                </a:solidFill>
              </a:rPr>
              <a:t>Aubry</a:t>
            </a:r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, R., </a:t>
            </a:r>
            <a:r>
              <a:rPr lang="en-US" sz="800" dirty="0" err="1">
                <a:solidFill>
                  <a:schemeClr val="accent1">
                    <a:lumMod val="50000"/>
                  </a:schemeClr>
                </a:solidFill>
              </a:rPr>
              <a:t>Frova</a:t>
            </a:r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, L., MacLeod, R., Wilson, D. M., </a:t>
            </a:r>
            <a:r>
              <a:rPr lang="en-US" sz="800" dirty="0" err="1">
                <a:solidFill>
                  <a:schemeClr val="accent1">
                    <a:lumMod val="50000"/>
                  </a:schemeClr>
                </a:solidFill>
              </a:rPr>
              <a:t>Loucka</a:t>
            </a:r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, M., … Cohen, J. (2017). </a:t>
            </a:r>
            <a:r>
              <a:rPr lang="en-US" sz="800" b="1" dirty="0">
                <a:solidFill>
                  <a:schemeClr val="accent1">
                    <a:lumMod val="50000"/>
                  </a:schemeClr>
                </a:solidFill>
              </a:rPr>
              <a:t>Estimating the need for palliative care at the population level: A cross-national study in 12 countries.</a:t>
            </a:r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800" i="1" dirty="0">
                <a:solidFill>
                  <a:schemeClr val="accent1">
                    <a:lumMod val="50000"/>
                  </a:schemeClr>
                </a:solidFill>
              </a:rPr>
              <a:t>Palliative Medicine</a:t>
            </a:r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en-US" sz="800" i="1" dirty="0">
                <a:solidFill>
                  <a:schemeClr val="accent1">
                    <a:lumMod val="50000"/>
                  </a:schemeClr>
                </a:solidFill>
              </a:rPr>
              <a:t>31</a:t>
            </a:r>
            <a:r>
              <a:rPr lang="en-US" sz="800" dirty="0">
                <a:solidFill>
                  <a:schemeClr val="accent1">
                    <a:lumMod val="50000"/>
                  </a:schemeClr>
                </a:solidFill>
              </a:rPr>
              <a:t>(6), 526–536. https://doi.org/10.1177/0269216316671280</a:t>
            </a:r>
            <a:endParaRPr lang="es-CL" sz="8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1634922" y="3377514"/>
            <a:ext cx="1339913" cy="497940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9" tIns="72009" rIns="72009" bIns="72009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587" indent="0" algn="ctr">
              <a:buNone/>
            </a:pPr>
            <a:r>
              <a:rPr lang="es-ES_tradnl" sz="1200" dirty="0" smtClean="0">
                <a:solidFill>
                  <a:schemeClr val="accent1">
                    <a:lumMod val="50000"/>
                  </a:schemeClr>
                </a:solidFill>
              </a:rPr>
              <a:t>Prevención</a:t>
            </a:r>
            <a:endParaRPr lang="es-CL" sz="12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865995" y="4779306"/>
            <a:ext cx="7146149" cy="326833"/>
          </a:xfrm>
          <a:prstGeom prst="rect">
            <a:avLst/>
          </a:prstGeom>
          <a:ln>
            <a:headEnd/>
            <a:tailEnd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ctr">
              <a:buNone/>
            </a:pPr>
            <a:r>
              <a:rPr lang="es-ES_tradnl" sz="1200" dirty="0" smtClean="0">
                <a:solidFill>
                  <a:schemeClr val="accent1">
                    <a:lumMod val="50000"/>
                  </a:schemeClr>
                </a:solidFill>
              </a:rPr>
              <a:t>Calidad de Vida Paciente-Familia</a:t>
            </a:r>
            <a:endParaRPr lang="es-CL" sz="12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3134794" y="3377514"/>
            <a:ext cx="1561897" cy="729042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ctr">
              <a:buNone/>
            </a:pPr>
            <a:r>
              <a:rPr lang="es-ES_tradnl" sz="1200" dirty="0" smtClean="0">
                <a:solidFill>
                  <a:schemeClr val="accent1">
                    <a:lumMod val="50000"/>
                  </a:schemeClr>
                </a:solidFill>
              </a:rPr>
              <a:t>Evaluación y tratamiento de problemas:  </a:t>
            </a:r>
            <a:endParaRPr lang="es-CL" sz="12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4856650" y="3275136"/>
            <a:ext cx="1988438" cy="414344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ctr">
              <a:buNone/>
            </a:pPr>
            <a:r>
              <a:rPr lang="es-ES_tradnl" sz="1200" dirty="0">
                <a:solidFill>
                  <a:schemeClr val="accent1">
                    <a:lumMod val="50000"/>
                  </a:schemeClr>
                </a:solidFill>
              </a:rPr>
              <a:t>F</a:t>
            </a:r>
            <a:r>
              <a:rPr lang="es-ES_tradnl" sz="1200" dirty="0" smtClean="0">
                <a:solidFill>
                  <a:schemeClr val="accent1">
                    <a:lumMod val="50000"/>
                  </a:schemeClr>
                </a:solidFill>
              </a:rPr>
              <a:t>ísicos</a:t>
            </a:r>
            <a:endParaRPr lang="es-CL" sz="12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4856650" y="3744608"/>
            <a:ext cx="1988438" cy="392948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ctr">
              <a:buNone/>
            </a:pPr>
            <a:r>
              <a:rPr lang="es-ES_tradnl" sz="1200" dirty="0" smtClean="0">
                <a:solidFill>
                  <a:schemeClr val="accent1">
                    <a:lumMod val="50000"/>
                  </a:schemeClr>
                </a:solidFill>
              </a:rPr>
              <a:t>Psicosociales</a:t>
            </a:r>
            <a:endParaRPr lang="es-CL" sz="12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" name="13 CuadroTexto"/>
          <p:cNvSpPr txBox="1"/>
          <p:nvPr/>
        </p:nvSpPr>
        <p:spPr>
          <a:xfrm>
            <a:off x="4856650" y="4203798"/>
            <a:ext cx="1980568" cy="443023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ctr">
              <a:buNone/>
            </a:pPr>
            <a:r>
              <a:rPr lang="es-ES_tradnl" sz="1200" dirty="0">
                <a:solidFill>
                  <a:schemeClr val="accent1">
                    <a:lumMod val="50000"/>
                  </a:schemeClr>
                </a:solidFill>
              </a:rPr>
              <a:t>E</a:t>
            </a:r>
            <a:r>
              <a:rPr lang="es-ES_tradnl" sz="1200" dirty="0" smtClean="0">
                <a:solidFill>
                  <a:schemeClr val="accent1">
                    <a:lumMod val="50000"/>
                  </a:schemeClr>
                </a:solidFill>
              </a:rPr>
              <a:t>spirituales</a:t>
            </a:r>
            <a:endParaRPr lang="es-CL" sz="12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5" name="13 CuadroTexto"/>
          <p:cNvSpPr txBox="1"/>
          <p:nvPr/>
        </p:nvSpPr>
        <p:spPr>
          <a:xfrm>
            <a:off x="4856650" y="2768183"/>
            <a:ext cx="1980568" cy="443023"/>
          </a:xfrm>
          <a:prstGeom prst="rect">
            <a:avLst/>
          </a:prstGeom>
          <a:ln>
            <a:headEnd/>
            <a:tailEnd/>
          </a:ln>
          <a:ex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ctr">
              <a:buNone/>
            </a:pPr>
            <a:r>
              <a:rPr lang="es-ES_tradnl" sz="1200" dirty="0" smtClean="0">
                <a:solidFill>
                  <a:schemeClr val="accent1">
                    <a:lumMod val="50000"/>
                  </a:schemeClr>
                </a:solidFill>
              </a:rPr>
              <a:t>Dolor</a:t>
            </a:r>
            <a:endParaRPr lang="es-CL" sz="12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91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307777"/>
          </a:xfrm>
        </p:spPr>
        <p:txBody>
          <a:bodyPr/>
          <a:lstStyle/>
          <a:p>
            <a:r>
              <a:rPr lang="es-ES_tradnl" sz="2000" dirty="0" smtClean="0"/>
              <a:t>Cuidados paliativos y Buen Morir: </a:t>
            </a:r>
            <a:r>
              <a:rPr lang="es-ES_tradnl" sz="2000" b="0" dirty="0" smtClean="0"/>
              <a:t>convenciones internacionales </a:t>
            </a:r>
            <a:endParaRPr lang="es-CL" sz="2000" b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274320" y="1181101"/>
            <a:ext cx="8534400" cy="4739759"/>
          </a:xfrm>
        </p:spPr>
        <p:txBody>
          <a:bodyPr/>
          <a:lstStyle/>
          <a:p>
            <a:pPr algn="just"/>
            <a:r>
              <a:rPr lang="es-CL" sz="1400" dirty="0"/>
              <a:t>El año 2013 la Asociación Europea de Cuidados Paliativos junto a otras </a:t>
            </a:r>
            <a:r>
              <a:rPr lang="es-CL" sz="1400" dirty="0" smtClean="0"/>
              <a:t>cuatro </a:t>
            </a:r>
            <a:r>
              <a:rPr lang="es-CL" sz="1400" dirty="0"/>
              <a:t>organizaciones internacionales llamaron a los gobiernos a implementar medidas para aliviar este sufrimiento y asegurar el derecho de las personas a cuidados paliativos para enfrentar este problema. </a:t>
            </a:r>
            <a:endParaRPr lang="es-CL" sz="1400" dirty="0" smtClean="0"/>
          </a:p>
          <a:p>
            <a:pPr algn="just"/>
            <a:endParaRPr lang="es-CL" sz="1400" dirty="0" smtClean="0"/>
          </a:p>
          <a:p>
            <a:pPr algn="just"/>
            <a:r>
              <a:rPr lang="es-CL" sz="1400" dirty="0"/>
              <a:t>El año 2014 la Asamblea Mundial de la Salud, emitió una resolución que llama a todos los estados miembros de la OMS a implementar políticas de cuidados paliativos a lo largo de la vida, en todos los niveles de atención e integrado en los sistemas de salud. </a:t>
            </a:r>
          </a:p>
          <a:p>
            <a:pPr algn="just"/>
            <a:endParaRPr lang="es-CL" sz="1400" dirty="0"/>
          </a:p>
          <a:p>
            <a:pPr algn="just"/>
            <a:r>
              <a:rPr lang="es-CL" sz="1400" dirty="0" smtClean="0"/>
              <a:t>En agosto 2018 en el Primer Informe Regional sobre la implementación del Consenso de Montevideo sobre Población y Desarrollo, la medida prioritaria 29 subraya la necesidad de “favorecer el desarrollo y acceso a cuidados paliativos, para asegurar una muerte digna y sin dolor”. </a:t>
            </a:r>
          </a:p>
          <a:p>
            <a:pPr algn="just"/>
            <a:r>
              <a:rPr lang="es-CL" sz="1400" dirty="0" smtClean="0"/>
              <a:t> </a:t>
            </a:r>
          </a:p>
          <a:p>
            <a:pPr algn="just"/>
            <a:r>
              <a:rPr lang="es-CL" sz="1400" dirty="0" smtClean="0"/>
              <a:t>Para la OMS los cuidados paliativos constituyen una alternativa que mejora la calidad de vida de los pacientes (adultos / niños) y sus cuidadores, sean o no familiares, cuando afrontan problemas propios de una enfermedad potencialmente mortal. Los cuidados paliativos están reconocidos expresamente en el contexto del derecho humano a la salud. Deben proporcionarse a través de servicios de salud integrados y centrados en la persona que presten especial atención a las necesidades y preferencias del individuo.</a:t>
            </a:r>
          </a:p>
          <a:p>
            <a:pPr algn="just"/>
            <a:endParaRPr lang="es-ES_tradnl" sz="1400" dirty="0"/>
          </a:p>
          <a:p>
            <a:pPr algn="just"/>
            <a:r>
              <a:rPr lang="es-CL" sz="1400" dirty="0"/>
              <a:t>Según la OMS se estima que a nivel mundial, 40 millones de personas requieren cuidados paliativos, la mayoría de ellas (78%) en países en desarrollo.</a:t>
            </a:r>
          </a:p>
          <a:p>
            <a:pPr algn="just"/>
            <a:endParaRPr lang="es-CL" sz="1400" dirty="0" smtClean="0"/>
          </a:p>
          <a:p>
            <a:pPr algn="just"/>
            <a:endParaRPr lang="es-CL" sz="14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573031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276999"/>
          </a:xfrm>
        </p:spPr>
        <p:txBody>
          <a:bodyPr/>
          <a:lstStyle/>
          <a:p>
            <a:r>
              <a:rPr lang="es-ES_tradnl" sz="1800" dirty="0"/>
              <a:t>Cuidados paliativos y Buen </a:t>
            </a:r>
            <a:r>
              <a:rPr lang="es-ES_tradnl" sz="1800" dirty="0" smtClean="0"/>
              <a:t>Morir: </a:t>
            </a:r>
            <a:r>
              <a:rPr lang="es-ES_tradnl" sz="1800" b="0" dirty="0" smtClean="0"/>
              <a:t>magnitud del problema </a:t>
            </a:r>
            <a:endParaRPr lang="es-CL" b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12420" y="2392680"/>
            <a:ext cx="8321040" cy="1938992"/>
          </a:xfrm>
        </p:spPr>
        <p:txBody>
          <a:bodyPr/>
          <a:lstStyle/>
          <a:p>
            <a:pPr algn="just"/>
            <a:r>
              <a:rPr lang="es-CL" sz="1400" dirty="0" smtClean="0"/>
              <a:t>En Chile mueren 100.000 personas al año.</a:t>
            </a:r>
          </a:p>
          <a:p>
            <a:pPr algn="just"/>
            <a:r>
              <a:rPr lang="es-CL" sz="1400" dirty="0"/>
              <a:t> </a:t>
            </a:r>
            <a:r>
              <a:rPr lang="es-CL" sz="1400" dirty="0" smtClean="0"/>
              <a:t>De las cuales 47.000 requerirán cuidados paliativos. ( no oncológicos) </a:t>
            </a:r>
          </a:p>
          <a:p>
            <a:pPr algn="just"/>
            <a:endParaRPr lang="es-CL" sz="1400" dirty="0"/>
          </a:p>
          <a:p>
            <a:pPr algn="just"/>
            <a:r>
              <a:rPr lang="es-CL" sz="1400" dirty="0" smtClean="0"/>
              <a:t> </a:t>
            </a:r>
            <a:endParaRPr lang="es-ES_tradnl" sz="1400" dirty="0"/>
          </a:p>
          <a:p>
            <a:pPr algn="just"/>
            <a:r>
              <a:rPr lang="es-CL" sz="1400" dirty="0"/>
              <a:t>El dolor es uno de los síntomas más frecuentes y graves experimentados por los pacientes que necesitan </a:t>
            </a:r>
            <a:r>
              <a:rPr lang="es-CL" sz="1400" dirty="0" smtClean="0"/>
              <a:t>este tipo de cuidados. </a:t>
            </a:r>
            <a:r>
              <a:rPr lang="es-CL" sz="1400" dirty="0"/>
              <a:t>Por ejemplo, el 80% de los pacientes con SIDA </a:t>
            </a:r>
            <a:r>
              <a:rPr lang="es-CL" sz="1400" dirty="0" smtClean="0"/>
              <a:t>o cáncer  </a:t>
            </a:r>
            <a:r>
              <a:rPr lang="es-CL" sz="1400" dirty="0"/>
              <a:t>y el 67% de los pacientes con enfermedades cardiovasculares o enfermedades pulmonares obstructivas experimentarán dolor ( moderado e intenso ) al final de sus vidas</a:t>
            </a:r>
            <a:r>
              <a:rPr lang="es-CL" sz="1400" dirty="0" smtClean="0"/>
              <a:t>.</a:t>
            </a:r>
          </a:p>
          <a:p>
            <a:pPr algn="just"/>
            <a:endParaRPr lang="es-CL" sz="1400" dirty="0" smtClean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4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4181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276999"/>
          </a:xfrm>
        </p:spPr>
        <p:txBody>
          <a:bodyPr/>
          <a:lstStyle/>
          <a:p>
            <a:r>
              <a:rPr lang="es-CL" sz="1800" dirty="0"/>
              <a:t>Cuidados paliativos y Buen </a:t>
            </a:r>
            <a:r>
              <a:rPr lang="es-CL" sz="1800" dirty="0" smtClean="0"/>
              <a:t>Morir: </a:t>
            </a:r>
            <a:r>
              <a:rPr lang="es-CL" sz="1800" b="0" dirty="0" smtClean="0"/>
              <a:t>de qué se trata ? </a:t>
            </a:r>
            <a:endParaRPr lang="es-CL" b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47700" y="1440180"/>
            <a:ext cx="8351519" cy="3785652"/>
          </a:xfrm>
        </p:spPr>
        <p:txBody>
          <a:bodyPr/>
          <a:lstStyle/>
          <a:p>
            <a:r>
              <a:rPr lang="es-CL" sz="1400" dirty="0"/>
              <a:t>El cuidado paliativo es una aproximación interdisciplinaria que tiene como objeto aliviar el sufrimiento asociado a </a:t>
            </a:r>
            <a:r>
              <a:rPr lang="es-CL" sz="1400" dirty="0" smtClean="0"/>
              <a:t>las </a:t>
            </a:r>
            <a:r>
              <a:rPr lang="es-CL" sz="1400" dirty="0"/>
              <a:t>personas con enfermedades incurables. Esta disciplina se ha desarrollado ampliamente durante las últimas décadas principalmente en países de ingreso alto. </a:t>
            </a:r>
            <a:endParaRPr lang="es-CL" sz="1400" dirty="0" smtClean="0"/>
          </a:p>
          <a:p>
            <a:r>
              <a:rPr lang="es-CL" sz="1400" dirty="0"/>
              <a:t> </a:t>
            </a:r>
          </a:p>
          <a:p>
            <a:pPr algn="just"/>
            <a:r>
              <a:rPr lang="es-CL" sz="1400" dirty="0"/>
              <a:t>Estos cuidados previenen y alivian el sufrimiento de las personas a través de</a:t>
            </a:r>
            <a:r>
              <a:rPr lang="es-CL" sz="1400" dirty="0" smtClean="0"/>
              <a:t>:</a:t>
            </a:r>
          </a:p>
          <a:p>
            <a:pPr algn="just"/>
            <a:endParaRPr lang="es-CL" sz="1400" dirty="0"/>
          </a:p>
          <a:p>
            <a:pPr marL="285750" indent="-285750" algn="just">
              <a:buFontTx/>
              <a:buChar char="-"/>
            </a:pPr>
            <a:r>
              <a:rPr lang="es-CL" sz="1400" dirty="0" smtClean="0"/>
              <a:t>la </a:t>
            </a:r>
            <a:r>
              <a:rPr lang="es-CL" sz="1400" dirty="0"/>
              <a:t>identificación temprana y evaluación de sus necesidades</a:t>
            </a:r>
            <a:r>
              <a:rPr lang="es-CL" sz="1400" dirty="0" smtClean="0"/>
              <a:t>,</a:t>
            </a:r>
          </a:p>
          <a:p>
            <a:pPr marL="285750" indent="-285750" algn="just">
              <a:buFontTx/>
              <a:buChar char="-"/>
            </a:pPr>
            <a:r>
              <a:rPr lang="es-CL" sz="1400" dirty="0" smtClean="0"/>
              <a:t>el </a:t>
            </a:r>
            <a:r>
              <a:rPr lang="es-CL" sz="1400" dirty="0"/>
              <a:t>tratamiento adecuado y oportuno del dolor y otros síntomas como: náuseas, vómitos, dificultad para respirar, sensación de </a:t>
            </a:r>
            <a:r>
              <a:rPr lang="es-CL" sz="1400" dirty="0" smtClean="0"/>
              <a:t>ahogo, angustia</a:t>
            </a:r>
            <a:r>
              <a:rPr lang="es-CL" sz="1400" dirty="0"/>
              <a:t>, </a:t>
            </a:r>
            <a:r>
              <a:rPr lang="es-CL" sz="1400" dirty="0" smtClean="0"/>
              <a:t>miedo, sangramiento</a:t>
            </a:r>
            <a:r>
              <a:rPr lang="es-CL" sz="1400" dirty="0"/>
              <a:t>, inmovilidad, </a:t>
            </a:r>
            <a:endParaRPr lang="es-CL" sz="1400" dirty="0" smtClean="0"/>
          </a:p>
          <a:p>
            <a:pPr marL="285750" indent="-285750" algn="just">
              <a:buFontTx/>
              <a:buChar char="-"/>
            </a:pPr>
            <a:r>
              <a:rPr lang="es-CL" sz="1400" dirty="0" smtClean="0"/>
              <a:t>el </a:t>
            </a:r>
            <a:r>
              <a:rPr lang="es-CL" sz="1400" dirty="0"/>
              <a:t>tratamiento de problemas de orden psíquico, social o espiritual.</a:t>
            </a:r>
          </a:p>
          <a:p>
            <a:pPr algn="just"/>
            <a:r>
              <a:rPr lang="es-CL" sz="1400" dirty="0"/>
              <a:t> </a:t>
            </a:r>
          </a:p>
          <a:p>
            <a:pPr algn="just"/>
            <a:endParaRPr lang="es-CL" sz="1400" dirty="0"/>
          </a:p>
          <a:p>
            <a:pPr algn="just"/>
            <a:r>
              <a:rPr lang="es-CL" sz="1400" dirty="0" smtClean="0"/>
              <a:t>Esta </a:t>
            </a:r>
            <a:r>
              <a:rPr lang="es-CL" sz="1400" dirty="0"/>
              <a:t>labor comprende la atención de necesidades prácticas y apoyo psicológico a la hora del duelo. Los cuidados paliativos ofrecen un sistema de apoyo para ayudar a los pacientes a tener la mejor calidad de vida que les sea posible, hasta el momento de su muerte.</a:t>
            </a:r>
          </a:p>
          <a:p>
            <a:pPr algn="just"/>
            <a:endParaRPr lang="es-CL" dirty="0"/>
          </a:p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5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27215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307777"/>
          </a:xfrm>
        </p:spPr>
        <p:txBody>
          <a:bodyPr/>
          <a:lstStyle/>
          <a:p>
            <a:r>
              <a:rPr lang="es-CL" sz="2000" dirty="0"/>
              <a:t>Cuidados paliativos y Buen Morir: </a:t>
            </a:r>
            <a:r>
              <a:rPr lang="es-CL" sz="1600" b="0" dirty="0" smtClean="0"/>
              <a:t>por qué buen morir y no eutanasia? </a:t>
            </a:r>
            <a:endParaRPr lang="es-CL" sz="160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60020" y="1424940"/>
            <a:ext cx="8732520" cy="3055620"/>
          </a:xfrm>
        </p:spPr>
        <p:txBody>
          <a:bodyPr/>
          <a:lstStyle/>
          <a:p>
            <a:pPr algn="just"/>
            <a:r>
              <a:rPr lang="es-CL" sz="1200" b="1" dirty="0" smtClean="0"/>
              <a:t>Buen </a:t>
            </a:r>
            <a:r>
              <a:rPr lang="es-CL" sz="1200" b="1" dirty="0"/>
              <a:t>morir </a:t>
            </a:r>
            <a:r>
              <a:rPr lang="es-CL" sz="1200" dirty="0"/>
              <a:t>implica que un equipo de salud asume la responsabilidad de acompañar al enfermo hasta </a:t>
            </a:r>
            <a:r>
              <a:rPr lang="es-CL" sz="1200" dirty="0" smtClean="0"/>
              <a:t>su </a:t>
            </a:r>
            <a:r>
              <a:rPr lang="es-CL" sz="1200" dirty="0"/>
              <a:t>muerte, asumiéndola como un proceso natural. Se tratan los </a:t>
            </a:r>
            <a:r>
              <a:rPr lang="es-CL" sz="1200" dirty="0" smtClean="0"/>
              <a:t>síntomas </a:t>
            </a:r>
            <a:r>
              <a:rPr lang="es-CL" sz="1200" dirty="0"/>
              <a:t>con la intención de aliviar, no con el fin de prolongar injustificadamente la vida y la </a:t>
            </a:r>
            <a:r>
              <a:rPr lang="es-CL" sz="1200" dirty="0" smtClean="0"/>
              <a:t>agonía.</a:t>
            </a:r>
          </a:p>
          <a:p>
            <a:pPr algn="just"/>
            <a:endParaRPr lang="es-CL" sz="1200" dirty="0" smtClean="0"/>
          </a:p>
          <a:p>
            <a:pPr algn="just"/>
            <a:r>
              <a:rPr lang="es-CL" sz="1200" dirty="0" smtClean="0"/>
              <a:t>Este </a:t>
            </a:r>
            <a:r>
              <a:rPr lang="es-CL" sz="1200" dirty="0"/>
              <a:t>planteamiento adhiere a aquello que denominamos “Fines de la Medicina”, los cuales se encuentran plenamente vigentes y van más allá de prevenir y curar la enfermedad</a:t>
            </a:r>
            <a:r>
              <a:rPr lang="es-CL" sz="1200" dirty="0" smtClean="0"/>
              <a:t>.</a:t>
            </a:r>
          </a:p>
          <a:p>
            <a:pPr algn="just"/>
            <a:endParaRPr lang="es-CL" sz="1200" dirty="0"/>
          </a:p>
          <a:p>
            <a:pPr algn="just"/>
            <a:r>
              <a:rPr lang="es-CL" sz="1200" dirty="0"/>
              <a:t>Estos principios son:</a:t>
            </a:r>
          </a:p>
          <a:p>
            <a:pPr lvl="0" algn="just"/>
            <a:r>
              <a:rPr lang="es-CL" sz="1200" dirty="0" smtClean="0"/>
              <a:t>	La </a:t>
            </a:r>
            <a:r>
              <a:rPr lang="es-CL" sz="1200" dirty="0"/>
              <a:t>prevención de la enfermedad y la promoción de la salud</a:t>
            </a:r>
          </a:p>
          <a:p>
            <a:pPr lvl="0" algn="just"/>
            <a:r>
              <a:rPr lang="es-CL" sz="1200" dirty="0" smtClean="0"/>
              <a:t>	El </a:t>
            </a:r>
            <a:r>
              <a:rPr lang="es-CL" sz="1200" dirty="0"/>
              <a:t>alivio del dolor y sufrimiento causado por enfermedades</a:t>
            </a:r>
          </a:p>
          <a:p>
            <a:pPr lvl="0" algn="just"/>
            <a:r>
              <a:rPr lang="es-CL" sz="1200" dirty="0" smtClean="0"/>
              <a:t>	El </a:t>
            </a:r>
            <a:r>
              <a:rPr lang="es-CL" sz="1200" dirty="0"/>
              <a:t>cuidado y curación de quienes padecen enfermedad, y el cuidado de los que no pueden ser curados</a:t>
            </a:r>
          </a:p>
          <a:p>
            <a:pPr lvl="0" algn="just"/>
            <a:r>
              <a:rPr lang="es-CL" sz="1200" dirty="0" smtClean="0"/>
              <a:t>	Prevenir </a:t>
            </a:r>
            <a:r>
              <a:rPr lang="es-CL" sz="1200" dirty="0"/>
              <a:t>la muerte prematura y posibilitar una muerte en paz</a:t>
            </a:r>
          </a:p>
          <a:p>
            <a:pPr algn="just"/>
            <a:r>
              <a:rPr lang="es-CL" sz="1200" dirty="0"/>
              <a:t> </a:t>
            </a:r>
          </a:p>
          <a:p>
            <a:pPr algn="just"/>
            <a:endParaRPr lang="es-CL" sz="1200" dirty="0"/>
          </a:p>
          <a:p>
            <a:pPr algn="just"/>
            <a:r>
              <a:rPr lang="es-CL" sz="1200" dirty="0"/>
              <a:t> </a:t>
            </a:r>
          </a:p>
          <a:p>
            <a:endParaRPr lang="es-CL" sz="1200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97579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707886"/>
          </a:xfrm>
        </p:spPr>
        <p:txBody>
          <a:bodyPr/>
          <a:lstStyle/>
          <a:p>
            <a:pPr lvl="0"/>
            <a:r>
              <a:rPr lang="es-CL" sz="2000" dirty="0"/>
              <a:t>Cuidados paliativos y Buen Morir</a:t>
            </a:r>
            <a:r>
              <a:rPr lang="es-CL" sz="2800" dirty="0"/>
              <a:t>: </a:t>
            </a:r>
            <a:r>
              <a:rPr lang="es-CL" sz="1800" b="0" dirty="0" smtClean="0"/>
              <a:t>Leyes </a:t>
            </a:r>
            <a:r>
              <a:rPr lang="es-CL" sz="1800" b="0" dirty="0"/>
              <a:t>vigentes sobre el tema</a:t>
            </a:r>
            <a:br>
              <a:rPr lang="es-CL" sz="1800" b="0" dirty="0"/>
            </a:br>
            <a:endParaRPr lang="es-CL" sz="1800" b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8140" y="1356360"/>
            <a:ext cx="8488680" cy="4708981"/>
          </a:xfrm>
        </p:spPr>
        <p:txBody>
          <a:bodyPr/>
          <a:lstStyle/>
          <a:p>
            <a:r>
              <a:rPr lang="es-CL" dirty="0"/>
              <a:t> </a:t>
            </a:r>
          </a:p>
          <a:p>
            <a:pPr lvl="0" algn="just"/>
            <a:r>
              <a:rPr lang="es-CL" b="1" dirty="0"/>
              <a:t>Ley N° 19.966 que establece un Régimen de Garantías Explícitas en </a:t>
            </a:r>
            <a:r>
              <a:rPr lang="es-CL" b="1" dirty="0" smtClean="0"/>
              <a:t>Salud</a:t>
            </a:r>
          </a:p>
          <a:p>
            <a:pPr lvl="0" algn="just"/>
            <a:endParaRPr lang="es-CL" dirty="0"/>
          </a:p>
          <a:p>
            <a:pPr algn="just"/>
            <a:r>
              <a:rPr lang="es-CL" dirty="0"/>
              <a:t>En el Régimen GES, el problema Nº 04 es “Alivio del dolor y cuidados paliativos por cáncer avanzado para niños y adultos”. Existe una guía de práctica clínica con recomendación actualizada (Marzo 2019-GRADE) de entregar cuidados paliativos domiciliarios por sobre cuidados en centros de salud y entregarlos por equipo interdisciplinario sugiriendo intervención psicológica</a:t>
            </a:r>
            <a:r>
              <a:rPr lang="es-CL" dirty="0" smtClean="0"/>
              <a:t>.</a:t>
            </a:r>
          </a:p>
          <a:p>
            <a:pPr algn="just"/>
            <a:endParaRPr lang="es-CL" dirty="0"/>
          </a:p>
          <a:p>
            <a:pPr lvl="0" algn="just"/>
            <a:r>
              <a:rPr lang="es-CL" b="1" dirty="0"/>
              <a:t>Ley N° 20.584 que establece derechos y deberes de los </a:t>
            </a:r>
            <a:r>
              <a:rPr lang="es-CL" b="1" dirty="0" smtClean="0"/>
              <a:t>pacientes</a:t>
            </a:r>
          </a:p>
          <a:p>
            <a:pPr lvl="0" algn="just"/>
            <a:endParaRPr lang="es-CL" b="1" dirty="0"/>
          </a:p>
          <a:p>
            <a:pPr lvl="0" algn="just"/>
            <a:r>
              <a:rPr lang="es-CL" dirty="0" smtClean="0"/>
              <a:t>El </a:t>
            </a:r>
            <a:r>
              <a:rPr lang="es-CL" dirty="0"/>
              <a:t>Art. 16 señala</a:t>
            </a:r>
            <a:r>
              <a:rPr lang="es-CL" dirty="0" smtClean="0"/>
              <a:t>: “</a:t>
            </a:r>
            <a:r>
              <a:rPr lang="es-CL" dirty="0"/>
              <a:t>Las personas que se encuentren en este estado tendrán derecho a vivir con dignidad hasta el momento de la muerte. En consecuencia, tienen derecho a los cuidados paliativos que les permitan hacer más soportables los efectos de la enfermedad, a la compañía de sus familiares y personas a cuyo cuidado estén y a recibir, cuando lo requieran, asistencia espiritual”.</a:t>
            </a:r>
          </a:p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7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763376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600164"/>
          </a:xfrm>
        </p:spPr>
        <p:txBody>
          <a:bodyPr/>
          <a:lstStyle/>
          <a:p>
            <a:pPr lvl="0"/>
            <a:r>
              <a:rPr lang="es-ES_tradnl" sz="2000" dirty="0"/>
              <a:t>Cuidados paliativos y Buen Morir: </a:t>
            </a:r>
            <a:r>
              <a:rPr lang="es-CL" sz="1800" b="0" dirty="0" smtClean="0"/>
              <a:t>Objetivo </a:t>
            </a:r>
            <a:r>
              <a:rPr lang="es-CL" sz="1800" b="0" dirty="0"/>
              <a:t>del Proyecto</a:t>
            </a:r>
            <a:br>
              <a:rPr lang="es-CL" sz="1800" b="0" dirty="0"/>
            </a:br>
            <a:endParaRPr lang="es-CL" sz="1800" b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85800" y="1234441"/>
            <a:ext cx="7723583" cy="3877985"/>
          </a:xfrm>
        </p:spPr>
        <p:txBody>
          <a:bodyPr/>
          <a:lstStyle/>
          <a:p>
            <a:r>
              <a:rPr lang="es-CL" dirty="0"/>
              <a:t> </a:t>
            </a:r>
          </a:p>
          <a:p>
            <a:pPr algn="just"/>
            <a:r>
              <a:rPr lang="es-CL" dirty="0"/>
              <a:t>Este es un proyecto que pretende establecer una </a:t>
            </a:r>
            <a:r>
              <a:rPr lang="es-CL" i="1" dirty="0"/>
              <a:t>Ley marco para regular los cuidados paliativos</a:t>
            </a:r>
            <a:r>
              <a:rPr lang="es-CL" dirty="0"/>
              <a:t>.  </a:t>
            </a:r>
            <a:endParaRPr lang="es-CL" dirty="0" smtClean="0"/>
          </a:p>
          <a:p>
            <a:pPr algn="just"/>
            <a:endParaRPr lang="es-CL" dirty="0"/>
          </a:p>
          <a:p>
            <a:pPr algn="just"/>
            <a:r>
              <a:rPr lang="es-CL" dirty="0" smtClean="0"/>
              <a:t>Se </a:t>
            </a:r>
            <a:r>
              <a:rPr lang="es-CL" dirty="0"/>
              <a:t>busca generar un marco normativo que siente las bases de una verdadera </a:t>
            </a:r>
            <a:r>
              <a:rPr lang="es-CL" i="1" dirty="0"/>
              <a:t>cultura de alivio</a:t>
            </a:r>
            <a:r>
              <a:rPr lang="es-CL" dirty="0"/>
              <a:t> de los síntomas que afectan al final de la vida y </a:t>
            </a:r>
            <a:r>
              <a:rPr lang="es-CL" i="1" dirty="0"/>
              <a:t>propiciar una muerte digna</a:t>
            </a:r>
            <a:r>
              <a:rPr lang="es-CL" dirty="0"/>
              <a:t>, que considere no solo a la persona enferma sino</a:t>
            </a:r>
            <a:r>
              <a:rPr lang="es-CL" i="1" dirty="0"/>
              <a:t> también a su familia y aquellos que cuidan de </a:t>
            </a:r>
            <a:r>
              <a:rPr lang="es-CL" i="1" dirty="0" smtClean="0"/>
              <a:t>ella</a:t>
            </a:r>
            <a:r>
              <a:rPr lang="es-CL" dirty="0" smtClean="0"/>
              <a:t>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En ese sentido, con esta iniciativa se promueve el cuidado integral de la persona con la finalidad de aliviar, dentro de lo posible, los padecimientos asociados a una enfermedad terminal.</a:t>
            </a:r>
          </a:p>
          <a:p>
            <a:pPr algn="just"/>
            <a:r>
              <a:rPr lang="es-CL" dirty="0"/>
              <a:t> </a:t>
            </a:r>
          </a:p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8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00613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545248" y="223342"/>
            <a:ext cx="7267862" cy="600164"/>
          </a:xfrm>
        </p:spPr>
        <p:txBody>
          <a:bodyPr/>
          <a:lstStyle/>
          <a:p>
            <a:pPr lvl="0"/>
            <a:r>
              <a:rPr lang="es-ES_tradnl" sz="2000" dirty="0"/>
              <a:t>Cuidados paliativos y Buen </a:t>
            </a:r>
            <a:r>
              <a:rPr lang="es-ES_tradnl" sz="2000" dirty="0" smtClean="0"/>
              <a:t>Morir: </a:t>
            </a:r>
            <a:r>
              <a:rPr lang="es-CL" sz="1800" b="0" dirty="0" smtClean="0"/>
              <a:t>Contenido </a:t>
            </a:r>
            <a:r>
              <a:rPr lang="es-CL" sz="1800" b="0" dirty="0"/>
              <a:t>del proyecto</a:t>
            </a:r>
            <a:br>
              <a:rPr lang="es-CL" sz="1800" b="0" dirty="0"/>
            </a:br>
            <a:endParaRPr lang="es-CL" sz="1800" b="0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93420" y="1120140"/>
            <a:ext cx="7825740" cy="5161240"/>
          </a:xfrm>
        </p:spPr>
        <p:txBody>
          <a:bodyPr/>
          <a:lstStyle/>
          <a:p>
            <a:r>
              <a:rPr lang="es-CL" dirty="0"/>
              <a:t> </a:t>
            </a:r>
          </a:p>
          <a:p>
            <a:pPr algn="just"/>
            <a:r>
              <a:rPr lang="es-CL" dirty="0"/>
              <a:t>Se establece el ámbito de aplicación de los </a:t>
            </a:r>
            <a:r>
              <a:rPr lang="es-CL" dirty="0" smtClean="0"/>
              <a:t>Cuidados Paliativos</a:t>
            </a:r>
            <a:r>
              <a:rPr lang="es-CL" dirty="0"/>
              <a:t>, otorgando una </a:t>
            </a:r>
            <a:r>
              <a:rPr lang="es-CL" i="1" dirty="0"/>
              <a:t>definición de enfermedad terminal</a:t>
            </a:r>
            <a:r>
              <a:rPr lang="es-CL" dirty="0"/>
              <a:t>, cuyo diagnóstico será esencial para efectos de </a:t>
            </a:r>
            <a:r>
              <a:rPr lang="es-CL" dirty="0" smtClean="0"/>
              <a:t>entregar </a:t>
            </a:r>
            <a:r>
              <a:rPr lang="es-CL" dirty="0"/>
              <a:t>las prestaciones constitutivas de </a:t>
            </a:r>
            <a:r>
              <a:rPr lang="es-CL" dirty="0" smtClean="0"/>
              <a:t>Cuidados Paliativos</a:t>
            </a:r>
            <a:r>
              <a:rPr lang="es-CL" dirty="0"/>
              <a:t>. </a:t>
            </a:r>
            <a:endParaRPr lang="es-CL" dirty="0" smtClean="0"/>
          </a:p>
          <a:p>
            <a:pPr algn="just"/>
            <a:endParaRPr lang="es-CL" dirty="0"/>
          </a:p>
          <a:p>
            <a:pPr algn="just"/>
            <a:r>
              <a:rPr lang="es-CL" dirty="0"/>
              <a:t>Se describe el objetivo de los </a:t>
            </a:r>
            <a:r>
              <a:rPr lang="es-CL" dirty="0" smtClean="0"/>
              <a:t>Cuidados Paliativos</a:t>
            </a:r>
            <a:r>
              <a:rPr lang="es-CL" dirty="0"/>
              <a:t>: </a:t>
            </a:r>
            <a:r>
              <a:rPr lang="es-CL" i="1" dirty="0"/>
              <a:t>mejorar la calidad de vida de las personas, previniendo y aliviando síntomas</a:t>
            </a:r>
            <a:r>
              <a:rPr lang="es-CL" dirty="0"/>
              <a:t> a través de la identificación temprana, la adecuada evaluación y tratamiento del dolor, así como otros </a:t>
            </a:r>
            <a:r>
              <a:rPr lang="es-CL" dirty="0" smtClean="0"/>
              <a:t>problemas </a:t>
            </a:r>
            <a:r>
              <a:rPr lang="es-CL" dirty="0"/>
              <a:t>de orden físico y mental</a:t>
            </a:r>
            <a:r>
              <a:rPr lang="es-CL" dirty="0" smtClean="0"/>
              <a:t>.</a:t>
            </a:r>
          </a:p>
          <a:p>
            <a:pPr algn="just"/>
            <a:endParaRPr lang="es-CL" dirty="0"/>
          </a:p>
          <a:p>
            <a:pPr algn="just"/>
            <a:r>
              <a:rPr lang="es-CL" dirty="0" smtClean="0"/>
              <a:t>Se </a:t>
            </a:r>
            <a:r>
              <a:rPr lang="es-CL" dirty="0"/>
              <a:t>establece que se </a:t>
            </a:r>
            <a:r>
              <a:rPr lang="es-CL" dirty="0" smtClean="0"/>
              <a:t>debe </a:t>
            </a:r>
            <a:r>
              <a:rPr lang="es-CL" i="1" dirty="0"/>
              <a:t>considerar a los familiares y a los cuidadores no remunerados, en cuanto a su apoyo psicológico</a:t>
            </a:r>
            <a:r>
              <a:rPr lang="es-CL" i="1" dirty="0" smtClean="0"/>
              <a:t>.</a:t>
            </a:r>
          </a:p>
          <a:p>
            <a:pPr algn="just"/>
            <a:endParaRPr lang="es-CL" dirty="0"/>
          </a:p>
          <a:p>
            <a:pPr algn="just"/>
            <a:r>
              <a:rPr lang="es-CL" dirty="0"/>
              <a:t>Se establece </a:t>
            </a:r>
            <a:r>
              <a:rPr lang="es-CL" dirty="0" smtClean="0"/>
              <a:t>claramente </a:t>
            </a:r>
            <a:r>
              <a:rPr lang="es-CL" dirty="0"/>
              <a:t>que </a:t>
            </a:r>
            <a:r>
              <a:rPr lang="es-CL" i="1" dirty="0"/>
              <a:t>en ninguna circunstancia</a:t>
            </a:r>
            <a:r>
              <a:rPr lang="es-CL" dirty="0"/>
              <a:t> los tratamientos administrados en el contexto de los </a:t>
            </a:r>
            <a:r>
              <a:rPr lang="es-CL" dirty="0" smtClean="0"/>
              <a:t>Cuidados Paliativos </a:t>
            </a:r>
            <a:r>
              <a:rPr lang="es-CL" dirty="0"/>
              <a:t>o su rechazo podrán tener por objeto la </a:t>
            </a:r>
            <a:r>
              <a:rPr lang="es-CL" i="1" dirty="0"/>
              <a:t>aceleración artificial de la muerte, la realización de prácticas eutanásicas o el ensañamiento terapéutico</a:t>
            </a:r>
            <a:r>
              <a:rPr lang="es-CL" dirty="0"/>
              <a:t>, actos que atentan contra la dignidad de la persona humana.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EDFAE9-4E79-4D81-B0A3-B0FA22189F70}" type="slidenum">
              <a:rPr lang="es-CL" smtClean="0"/>
              <a:pPr/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81474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89</TotalTime>
  <Words>825</Words>
  <Application>Microsoft Office PowerPoint</Application>
  <PresentationFormat>Presentación en pantalla (4:3)</PresentationFormat>
  <Paragraphs>141</Paragraphs>
  <Slides>15</Slides>
  <Notes>2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23" baseType="lpstr">
      <vt:lpstr>Arial</vt:lpstr>
      <vt:lpstr>Calibri</vt:lpstr>
      <vt:lpstr>Verdana</vt:lpstr>
      <vt:lpstr>Verdana Bold</vt:lpstr>
      <vt:lpstr>ヒラギノ角ゴ Pro W3</vt:lpstr>
      <vt:lpstr>Contenido</vt:lpstr>
      <vt:lpstr>Office Theme</vt:lpstr>
      <vt:lpstr>Diapositiva de think-cell</vt:lpstr>
      <vt:lpstr>Presentación de PowerPoint</vt:lpstr>
      <vt:lpstr>Cuidados paliativos y Buen Morir: Definición conceptual</vt:lpstr>
      <vt:lpstr>Cuidados paliativos y Buen Morir: convenciones internacionales </vt:lpstr>
      <vt:lpstr>Cuidados paliativos y Buen Morir: magnitud del problema </vt:lpstr>
      <vt:lpstr>Cuidados paliativos y Buen Morir: de qué se trata ? </vt:lpstr>
      <vt:lpstr>Cuidados paliativos y Buen Morir: por qué buen morir y no eutanasia? </vt:lpstr>
      <vt:lpstr>Cuidados paliativos y Buen Morir: Leyes vigentes sobre el tema </vt:lpstr>
      <vt:lpstr>Cuidados paliativos y Buen Morir: Objetivo del Proyecto </vt:lpstr>
      <vt:lpstr>Cuidados paliativos y Buen Morir: Contenido del proyecto </vt:lpstr>
      <vt:lpstr>Cuidados paliativos y Buen Morir: Articulado del proyecto</vt:lpstr>
      <vt:lpstr>Cuidados paliativos y Buen Morir: Articulado del proyecto</vt:lpstr>
      <vt:lpstr>Cuidados paliativos y Buen Morir: Articulado del proyecto</vt:lpstr>
      <vt:lpstr>Cuidados paliativos y Buen Morir: Articulado del proyecto</vt:lpstr>
      <vt:lpstr>Cuidados paliativos y Buen Morir: Reflexión final</vt:lpstr>
      <vt:lpstr>GRACIA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Jesus Canelo</dc:creator>
  <cp:lastModifiedBy>Silvia Rivas Mena</cp:lastModifiedBy>
  <cp:revision>177</cp:revision>
  <cp:lastPrinted>2018-06-25T14:00:23Z</cp:lastPrinted>
  <dcterms:created xsi:type="dcterms:W3CDTF">2018-04-18T19:49:27Z</dcterms:created>
  <dcterms:modified xsi:type="dcterms:W3CDTF">2019-06-11T21:06:14Z</dcterms:modified>
</cp:coreProperties>
</file>